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sldIdLst>
    <p:sldId id="449" r:id="rId2"/>
    <p:sldId id="452" r:id="rId3"/>
    <p:sldId id="451" r:id="rId4"/>
    <p:sldId id="453" r:id="rId5"/>
  </p:sldIdLst>
  <p:sldSz cx="9144000" cy="6858000" type="screen4x3"/>
  <p:notesSz cx="6858000" cy="9144000"/>
  <p:custDataLst>
    <p:tags r:id="rId7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sfarg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532" autoAdjust="0"/>
  </p:normalViewPr>
  <p:slideViewPr>
    <p:cSldViewPr snapToGrid="0" snapToObjects="1">
      <p:cViewPr varScale="1">
        <p:scale>
          <a:sx n="93" d="100"/>
          <a:sy n="93" d="100"/>
        </p:scale>
        <p:origin x="301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6" d="100"/>
          <a:sy n="56" d="100"/>
        </p:scale>
        <p:origin x="251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 Jerre" userId="a72094d700697810" providerId="LiveId" clId="{15E72B4C-4F47-434C-B93C-0C4C89E23A9D}"/>
    <pc:docChg chg="custSel modMainMaster">
      <pc:chgData name="Jon Jerre" userId="a72094d700697810" providerId="LiveId" clId="{15E72B4C-4F47-434C-B93C-0C4C89E23A9D}" dt="2025-10-21T06:29:57.369" v="67" actId="404"/>
      <pc:docMkLst>
        <pc:docMk/>
      </pc:docMkLst>
      <pc:sldMasterChg chg="modSp mod modSldLayout">
        <pc:chgData name="Jon Jerre" userId="a72094d700697810" providerId="LiveId" clId="{15E72B4C-4F47-434C-B93C-0C4C89E23A9D}" dt="2025-10-21T06:29:57.369" v="67" actId="404"/>
        <pc:sldMasterMkLst>
          <pc:docMk/>
          <pc:sldMasterMk cId="2997785653" sldId="2147483648"/>
        </pc:sldMasterMkLst>
        <pc:spChg chg="mod">
          <ac:chgData name="Jon Jerre" userId="a72094d700697810" providerId="LiveId" clId="{15E72B4C-4F47-434C-B93C-0C4C89E23A9D}" dt="2025-10-21T06:26:57.712" v="30" actId="404"/>
          <ac:spMkLst>
            <pc:docMk/>
            <pc:sldMasterMk cId="2997785653" sldId="2147483648"/>
            <ac:spMk id="3" creationId="{00000000-0000-0000-0000-000000000000}"/>
          </ac:spMkLst>
        </pc:spChg>
        <pc:spChg chg="mod">
          <ac:chgData name="Jon Jerre" userId="a72094d700697810" providerId="LiveId" clId="{15E72B4C-4F47-434C-B93C-0C4C89E23A9D}" dt="2025-10-17T16:46:10.838" v="21" actId="6549"/>
          <ac:spMkLst>
            <pc:docMk/>
            <pc:sldMasterMk cId="2997785653" sldId="2147483648"/>
            <ac:spMk id="5" creationId="{00000000-0000-0000-0000-000000000000}"/>
          </ac:spMkLst>
        </pc:spChg>
        <pc:sldLayoutChg chg="modSp mod">
          <pc:chgData name="Jon Jerre" userId="a72094d700697810" providerId="LiveId" clId="{15E72B4C-4F47-434C-B93C-0C4C89E23A9D}" dt="2025-10-21T06:27:50.614" v="37" actId="404"/>
          <pc:sldLayoutMkLst>
            <pc:docMk/>
            <pc:sldMasterMk cId="2997785653" sldId="2147483648"/>
            <pc:sldLayoutMk cId="1206902088" sldId="2147483650"/>
          </pc:sldLayoutMkLst>
          <pc:spChg chg="mod">
            <ac:chgData name="Jon Jerre" userId="a72094d700697810" providerId="LiveId" clId="{15E72B4C-4F47-434C-B93C-0C4C89E23A9D}" dt="2025-10-21T06:27:50.614" v="37" actId="404"/>
            <ac:spMkLst>
              <pc:docMk/>
              <pc:sldMasterMk cId="2997785653" sldId="2147483648"/>
              <pc:sldLayoutMk cId="1206902088" sldId="2147483650"/>
              <ac:spMk id="3" creationId="{00000000-0000-0000-0000-000000000000}"/>
            </ac:spMkLst>
          </pc:spChg>
          <pc:picChg chg="mod">
            <ac:chgData name="Jon Jerre" userId="a72094d700697810" providerId="LiveId" clId="{15E72B4C-4F47-434C-B93C-0C4C89E23A9D}" dt="2025-10-17T16:45:05.080" v="11" actId="1037"/>
            <ac:picMkLst>
              <pc:docMk/>
              <pc:sldMasterMk cId="2997785653" sldId="2147483648"/>
              <pc:sldLayoutMk cId="1206902088" sldId="2147483650"/>
              <ac:picMk id="10" creationId="{00000000-0000-0000-0000-000000000000}"/>
            </ac:picMkLst>
          </pc:picChg>
        </pc:sldLayoutChg>
        <pc:sldLayoutChg chg="addSp delSp modSp mod">
          <pc:chgData name="Jon Jerre" userId="a72094d700697810" providerId="LiveId" clId="{15E72B4C-4F47-434C-B93C-0C4C89E23A9D}" dt="2025-10-21T06:29:17.617" v="51" actId="404"/>
          <pc:sldLayoutMkLst>
            <pc:docMk/>
            <pc:sldMasterMk cId="2997785653" sldId="2147483648"/>
            <pc:sldLayoutMk cId="2043839056" sldId="2147483652"/>
          </pc:sldLayoutMkLst>
          <pc:spChg chg="mod">
            <ac:chgData name="Jon Jerre" userId="a72094d700697810" providerId="LiveId" clId="{15E72B4C-4F47-434C-B93C-0C4C89E23A9D}" dt="2025-10-21T06:28:58.856" v="44" actId="404"/>
            <ac:spMkLst>
              <pc:docMk/>
              <pc:sldMasterMk cId="2997785653" sldId="2147483648"/>
              <pc:sldLayoutMk cId="2043839056" sldId="2147483652"/>
              <ac:spMk id="3" creationId="{00000000-0000-0000-0000-000000000000}"/>
            </ac:spMkLst>
          </pc:spChg>
          <pc:spChg chg="mod">
            <ac:chgData name="Jon Jerre" userId="a72094d700697810" providerId="LiveId" clId="{15E72B4C-4F47-434C-B93C-0C4C89E23A9D}" dt="2025-10-21T06:29:17.617" v="51" actId="404"/>
            <ac:spMkLst>
              <pc:docMk/>
              <pc:sldMasterMk cId="2997785653" sldId="2147483648"/>
              <pc:sldLayoutMk cId="2043839056" sldId="2147483652"/>
              <ac:spMk id="4" creationId="{00000000-0000-0000-0000-000000000000}"/>
            </ac:spMkLst>
          </pc:spChg>
          <pc:picChg chg="add mod">
            <ac:chgData name="Jon Jerre" userId="a72094d700697810" providerId="LiveId" clId="{15E72B4C-4F47-434C-B93C-0C4C89E23A9D}" dt="2025-10-17T16:45:20.280" v="14"/>
            <ac:picMkLst>
              <pc:docMk/>
              <pc:sldMasterMk cId="2997785653" sldId="2147483648"/>
              <pc:sldLayoutMk cId="2043839056" sldId="2147483652"/>
              <ac:picMk id="9" creationId="{5C016885-2666-D2EA-963F-EFB09C2D4677}"/>
            </ac:picMkLst>
          </pc:picChg>
        </pc:sldLayoutChg>
        <pc:sldLayoutChg chg="addSp delSp modSp mod">
          <pc:chgData name="Jon Jerre" userId="a72094d700697810" providerId="LiveId" clId="{15E72B4C-4F47-434C-B93C-0C4C89E23A9D}" dt="2025-10-21T06:29:57.369" v="67" actId="404"/>
          <pc:sldLayoutMkLst>
            <pc:docMk/>
            <pc:sldMasterMk cId="2997785653" sldId="2147483648"/>
            <pc:sldLayoutMk cId="950903427" sldId="2147483653"/>
          </pc:sldLayoutMkLst>
          <pc:spChg chg="mod">
            <ac:chgData name="Jon Jerre" userId="a72094d700697810" providerId="LiveId" clId="{15E72B4C-4F47-434C-B93C-0C4C89E23A9D}" dt="2025-10-21T06:29:40.891" v="58" actId="404"/>
            <ac:spMkLst>
              <pc:docMk/>
              <pc:sldMasterMk cId="2997785653" sldId="2147483648"/>
              <pc:sldLayoutMk cId="950903427" sldId="2147483653"/>
              <ac:spMk id="4" creationId="{00000000-0000-0000-0000-000000000000}"/>
            </ac:spMkLst>
          </pc:spChg>
          <pc:spChg chg="mod">
            <ac:chgData name="Jon Jerre" userId="a72094d700697810" providerId="LiveId" clId="{15E72B4C-4F47-434C-B93C-0C4C89E23A9D}" dt="2025-10-21T06:29:57.369" v="67" actId="404"/>
            <ac:spMkLst>
              <pc:docMk/>
              <pc:sldMasterMk cId="2997785653" sldId="2147483648"/>
              <pc:sldLayoutMk cId="950903427" sldId="2147483653"/>
              <ac:spMk id="6" creationId="{00000000-0000-0000-0000-000000000000}"/>
            </ac:spMkLst>
          </pc:spChg>
          <pc:picChg chg="add mod">
            <ac:chgData name="Jon Jerre" userId="a72094d700697810" providerId="LiveId" clId="{15E72B4C-4F47-434C-B93C-0C4C89E23A9D}" dt="2025-10-17T16:45:27.849" v="17"/>
            <ac:picMkLst>
              <pc:docMk/>
              <pc:sldMasterMk cId="2997785653" sldId="2147483648"/>
              <pc:sldLayoutMk cId="950903427" sldId="2147483653"/>
              <ac:picMk id="11" creationId="{EE0261F9-BDE6-03BF-E97B-C8D3BACAB86F}"/>
            </ac:picMkLst>
          </pc:picChg>
        </pc:sldLayoutChg>
        <pc:sldLayoutChg chg="addSp modSp">
          <pc:chgData name="Jon Jerre" userId="a72094d700697810" providerId="LiveId" clId="{15E72B4C-4F47-434C-B93C-0C4C89E23A9D}" dt="2025-10-17T16:45:34.562" v="18"/>
          <pc:sldLayoutMkLst>
            <pc:docMk/>
            <pc:sldMasterMk cId="2997785653" sldId="2147483648"/>
            <pc:sldLayoutMk cId="3662037536" sldId="2147483654"/>
          </pc:sldLayoutMkLst>
          <pc:picChg chg="add mod">
            <ac:chgData name="Jon Jerre" userId="a72094d700697810" providerId="LiveId" clId="{15E72B4C-4F47-434C-B93C-0C4C89E23A9D}" dt="2025-10-17T16:45:34.562" v="18"/>
            <ac:picMkLst>
              <pc:docMk/>
              <pc:sldMasterMk cId="2997785653" sldId="2147483648"/>
              <pc:sldLayoutMk cId="3662037536" sldId="2147483654"/>
              <ac:picMk id="6" creationId="{2D1544C7-C932-F7D2-6B38-4C48CF7B4E65}"/>
            </ac:picMkLst>
          </pc:picChg>
        </pc:sldLayoutChg>
        <pc:sldLayoutChg chg="addSp modSp">
          <pc:chgData name="Jon Jerre" userId="a72094d700697810" providerId="LiveId" clId="{15E72B4C-4F47-434C-B93C-0C4C89E23A9D}" dt="2025-10-17T16:45:14.764" v="12"/>
          <pc:sldLayoutMkLst>
            <pc:docMk/>
            <pc:sldMasterMk cId="2997785653" sldId="2147483648"/>
            <pc:sldLayoutMk cId="2471184537" sldId="2147483662"/>
          </pc:sldLayoutMkLst>
        </pc:sldLayoutChg>
        <pc:sldLayoutChg chg="addSp modSp">
          <pc:chgData name="Jon Jerre" userId="a72094d700697810" providerId="LiveId" clId="{15E72B4C-4F47-434C-B93C-0C4C89E23A9D}" dt="2025-10-17T16:45:23.588" v="15"/>
          <pc:sldLayoutMkLst>
            <pc:docMk/>
            <pc:sldMasterMk cId="2997785653" sldId="2147483648"/>
            <pc:sldLayoutMk cId="4278241306" sldId="2147483663"/>
          </pc:sldLayoutMkLst>
        </pc:sldLayoutChg>
        <pc:sldLayoutChg chg="addSp delSp modSp mod">
          <pc:chgData name="Jon Jerre" userId="a72094d700697810" providerId="LiveId" clId="{15E72B4C-4F47-434C-B93C-0C4C89E23A9D}" dt="2025-10-17T16:45:40.450" v="20"/>
          <pc:sldLayoutMkLst>
            <pc:docMk/>
            <pc:sldMasterMk cId="2997785653" sldId="2147483648"/>
            <pc:sldLayoutMk cId="1952021091" sldId="214748366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E25BEE-393D-41AA-8A3E-20AADAFA665B}" type="datetimeFigureOut">
              <a:rPr lang="nb-NO" smtClean="0"/>
              <a:t>21.10.2025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69D709-14A3-484A-8EB8-1F2605AD354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85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9D709-14A3-484A-8EB8-1F2605AD354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517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2562225"/>
            <a:ext cx="7772400" cy="1038225"/>
          </a:xfrm>
        </p:spPr>
        <p:txBody>
          <a:bodyPr>
            <a:normAutofit/>
          </a:bodyPr>
          <a:lstStyle>
            <a:lvl1pPr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340126-B097-48B4-A4B6-EBBC2701BF1A}" type="datetime1">
              <a:rPr lang="nb-NO" smtClean="0"/>
              <a:t>21.10.202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aget av Jon Jerre, mai 2015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91587" y="323451"/>
            <a:ext cx="1591780" cy="1740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413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340126-B097-48B4-A4B6-EBBC2701BF1A}" type="datetime1">
              <a:rPr lang="nb-NO" smtClean="0"/>
              <a:t>21.10.202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aget av Jon Jerre, mai 2015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7223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0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900" indent="-34290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2000" baseline="0"/>
            </a:lvl1pPr>
            <a:lvl2pPr>
              <a:spcBef>
                <a:spcPts val="900"/>
              </a:spcBef>
              <a:defRPr sz="1800"/>
            </a:lvl2pPr>
            <a:lvl3pPr>
              <a:spcBef>
                <a:spcPts val="900"/>
              </a:spcBef>
              <a:defRPr sz="1600"/>
            </a:lvl3pPr>
            <a:lvl4pPr>
              <a:spcBef>
                <a:spcPts val="900"/>
              </a:spcBef>
              <a:defRPr sz="1400"/>
            </a:lvl4pPr>
            <a:lvl5pPr>
              <a:spcBef>
                <a:spcPts val="900"/>
              </a:spcBef>
              <a:defRPr sz="1200"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5F87CF-072E-43EE-A7D9-E1468C1A8316}" type="datetime1">
              <a:rPr lang="nb-NO" smtClean="0"/>
              <a:t>21.10.2025</a:t>
            </a:fld>
            <a:endParaRPr lang="nb-NO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SU I - 2016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6473" y="105000"/>
            <a:ext cx="713677" cy="780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902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0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058334"/>
            <a:ext cx="4038600" cy="5067830"/>
          </a:xfrm>
        </p:spPr>
        <p:txBody>
          <a:bodyPr>
            <a:normAutofit/>
          </a:bodyPr>
          <a:lstStyle>
            <a:lvl1pPr marL="342900" indent="-342900">
              <a:spcBef>
                <a:spcPts val="1200"/>
              </a:spcBef>
              <a:buFont typeface="Wingdings" panose="05000000000000000000" pitchFamily="2" charset="2"/>
              <a:buChar char="§"/>
              <a:defRPr sz="2000"/>
            </a:lvl1pPr>
            <a:lvl2pPr>
              <a:spcBef>
                <a:spcPts val="900"/>
              </a:spcBef>
              <a:defRPr sz="1800"/>
            </a:lvl2pPr>
            <a:lvl3pPr>
              <a:spcBef>
                <a:spcPts val="900"/>
              </a:spcBef>
              <a:defRPr sz="1600"/>
            </a:lvl3pPr>
            <a:lvl4pPr>
              <a:spcBef>
                <a:spcPts val="900"/>
              </a:spcBef>
              <a:defRPr sz="1400"/>
            </a:lvl4pPr>
            <a:lvl5pPr>
              <a:spcBef>
                <a:spcPts val="9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058334"/>
            <a:ext cx="4038600" cy="5067830"/>
          </a:xfrm>
        </p:spPr>
        <p:txBody>
          <a:bodyPr>
            <a:normAutofit/>
          </a:bodyPr>
          <a:lstStyle>
            <a:lvl1pPr marL="342900" indent="-342900">
              <a:spcBef>
                <a:spcPts val="1200"/>
              </a:spcBef>
              <a:buFont typeface="Wingdings" panose="05000000000000000000" pitchFamily="2" charset="2"/>
              <a:buChar char="§"/>
              <a:defRPr sz="2000"/>
            </a:lvl1pPr>
            <a:lvl2pPr>
              <a:spcBef>
                <a:spcPts val="900"/>
              </a:spcBef>
              <a:defRPr sz="1800"/>
            </a:lvl2pPr>
            <a:lvl3pPr>
              <a:spcBef>
                <a:spcPts val="900"/>
              </a:spcBef>
              <a:defRPr sz="1600"/>
            </a:lvl3pPr>
            <a:lvl4pPr>
              <a:spcBef>
                <a:spcPts val="900"/>
              </a:spcBef>
              <a:defRPr sz="1400"/>
            </a:lvl4pPr>
            <a:lvl5pPr>
              <a:spcBef>
                <a:spcPts val="9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1F256-9EA7-4FB0-B5C6-88B318406157}" type="datetime1">
              <a:rPr lang="nb-NO" smtClean="0"/>
              <a:t>21.10.202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aget av Jon Jerre, mai 2015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5C016885-2666-D2EA-963F-EFB09C2D46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6473" y="105000"/>
            <a:ext cx="713677" cy="780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8390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10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54558"/>
            <a:ext cx="4040188" cy="427160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5" y="1110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5" y="1854558"/>
            <a:ext cx="4041775" cy="427160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2156A-F56D-40E7-91B7-9A971FFF046B}" type="datetime1">
              <a:rPr lang="nb-NO" smtClean="0"/>
              <a:t>21.10.2025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aget av Jon Jerre, mai 2015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EE0261F9-BDE6-03BF-E97B-C8D3BACAB8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6473" y="105000"/>
            <a:ext cx="713677" cy="780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903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0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5151-5255-4C84-964F-1D12EA30B857}" type="datetime1">
              <a:rPr lang="nb-NO" smtClean="0"/>
              <a:t>21.10.202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aget av Jon Jerre, mai 2015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D1544C7-C932-F7D2-6B38-4C48CF7B4E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6473" y="105000"/>
            <a:ext cx="713677" cy="780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037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F7F01-0F27-44B5-A0E0-1F0CF0B655EB}" type="datetime1">
              <a:rPr lang="nb-NO" smtClean="0"/>
              <a:t>21.10.2025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aget av Jon Jerre, mai 2015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6113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>
            <a:normAutofit/>
          </a:bodyPr>
          <a:lstStyle>
            <a:lvl1pPr rtl="0"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ADAD25-EFC9-47BB-8783-4721F87242A8}" type="datetime1">
              <a:rPr lang="nb-NO" smtClean="0"/>
              <a:t>21.10.202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aget av Jon Jerre, mai 2015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335648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335C68-509F-4F0F-BB75-99BDB4CCD403}" type="datetime1">
              <a:rPr lang="nb-NO" smtClean="0"/>
              <a:t>21.10.202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aget av Jon Jerre, mai 2015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93663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29230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402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51402"/>
            <a:ext cx="8229600" cy="5074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D2212D-362B-4222-9B28-3AB6BD1D4FB2}" type="datetime1">
              <a:rPr lang="nb-NO" smtClean="0"/>
              <a:t>21.10.202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DA60BB-78F0-5643-A0C3-E1207AB4D6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7785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0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ts val="12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9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9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9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9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Lysarkpresentasjon</a:t>
            </a:r>
          </a:p>
        </p:txBody>
      </p:sp>
      <p:sp>
        <p:nvSpPr>
          <p:cNvPr id="6" name="Undertit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Dette er en mal for presentasjon i NBSK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7053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den inneholder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Presentasjonen inneholder lysbilder med logo, og lysbilder uten logo</a:t>
            </a:r>
          </a:p>
          <a:p>
            <a:r>
              <a:rPr lang="nb-NO" dirty="0"/>
              <a:t>Du bestemmer selv ved å velge oppsett</a:t>
            </a:r>
          </a:p>
          <a:p>
            <a:r>
              <a:rPr lang="nb-NO" dirty="0"/>
              <a:t>Bruk innrykk for å få underpunkter</a:t>
            </a:r>
          </a:p>
          <a:p>
            <a:pPr lvl="1"/>
            <a:r>
              <a:rPr lang="nb-NO" dirty="0"/>
              <a:t>Første undernivå</a:t>
            </a:r>
          </a:p>
          <a:p>
            <a:pPr lvl="2"/>
            <a:r>
              <a:rPr lang="nb-NO" dirty="0"/>
              <a:t>Andre undernivå</a:t>
            </a:r>
          </a:p>
          <a:p>
            <a:pPr lvl="3"/>
            <a:r>
              <a:rPr lang="nb-NO" dirty="0"/>
              <a:t>Tredje undernivå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42912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ysbilde med to felt for tekst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nb-NO" dirty="0"/>
              <a:t>Her finner det første feltet</a:t>
            </a:r>
          </a:p>
          <a:p>
            <a:pPr lvl="1"/>
            <a:r>
              <a:rPr lang="nb-NO" dirty="0"/>
              <a:t>Med undernivå</a:t>
            </a:r>
          </a:p>
        </p:txBody>
      </p:sp>
      <p:sp>
        <p:nvSpPr>
          <p:cNvPr id="7" name="Plassholder for innhold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b-NO" dirty="0"/>
              <a:t>Her er det andre feltet</a:t>
            </a:r>
          </a:p>
          <a:p>
            <a:pPr lvl="1"/>
            <a:r>
              <a:rPr lang="nb-NO" dirty="0"/>
              <a:t>Med undernivå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1451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er er den godkjente logoen 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A60BB-78F0-5643-A0C3-E1207AB4D6D0}" type="slidenum">
              <a:rPr lang="nb-NO" smtClean="0"/>
              <a:t>4</a:t>
            </a:fld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4145" y="2007938"/>
            <a:ext cx="3324260" cy="363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203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3770</TotalTime>
  <Words>71</Words>
  <Application>Microsoft Office PowerPoint</Application>
  <PresentationFormat>Skjermfremvisning (4:3)</PresentationFormat>
  <Paragraphs>20</Paragraphs>
  <Slides>4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</vt:i4>
      </vt:variant>
    </vt:vector>
  </HeadingPairs>
  <TitlesOfParts>
    <vt:vector size="10" baseType="lpstr">
      <vt:lpstr>Arial</vt:lpstr>
      <vt:lpstr>Calibri</vt:lpstr>
      <vt:lpstr>Verdana</vt:lpstr>
      <vt:lpstr>Wingdings</vt:lpstr>
      <vt:lpstr>Office-tema</vt:lpstr>
      <vt:lpstr>think-cell Slide</vt:lpstr>
      <vt:lpstr>Lysarkpresentasjon</vt:lpstr>
      <vt:lpstr>Hva den inneholder</vt:lpstr>
      <vt:lpstr>Lysbilde med to felt for tekst</vt:lpstr>
      <vt:lpstr>Her er den godkjente logoe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Jon Jerre</dc:creator>
  <cp:lastModifiedBy>Jon Jerre</cp:lastModifiedBy>
  <cp:revision>350</cp:revision>
  <dcterms:created xsi:type="dcterms:W3CDTF">2014-02-02T18:04:10Z</dcterms:created>
  <dcterms:modified xsi:type="dcterms:W3CDTF">2025-10-21T06:30:02Z</dcterms:modified>
</cp:coreProperties>
</file>